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840" r:id="rId2"/>
    <p:sldId id="841" r:id="rId3"/>
    <p:sldId id="842" r:id="rId4"/>
    <p:sldId id="844" r:id="rId5"/>
    <p:sldId id="843" r:id="rId6"/>
    <p:sldId id="845" r:id="rId7"/>
    <p:sldId id="846" r:id="rId8"/>
    <p:sldId id="847" r:id="rId9"/>
    <p:sldId id="815" r:id="rId10"/>
    <p:sldId id="309" r:id="rId11"/>
    <p:sldId id="816" r:id="rId12"/>
    <p:sldId id="848" r:id="rId13"/>
    <p:sldId id="829" r:id="rId14"/>
    <p:sldId id="313" r:id="rId15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71" d="100"/>
          <a:sy n="71" d="100"/>
        </p:scale>
        <p:origin x="-1500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>
              <a:solidFill>
                <a:schemeClr val="tx1"/>
              </a:solidFill>
            </a:rPr>
            <a:t>Уровень </a:t>
          </a:r>
          <a:r>
            <a:rPr lang="ru-RU" sz="12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АДОУ «ДС №48 г. Челябинска»</a:t>
          </a:r>
          <a:endParaRPr lang="ru-RU" sz="1200" b="1" dirty="0">
            <a:solidFill>
              <a:schemeClr val="tx1"/>
            </a:solidFill>
          </a:endParaRP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27E670F-2236-4284-AAA7-CB8E35AA91C9}" type="presOf" srcId="{C055D918-0D48-44D3-9287-CAE1B93EB64A}" destId="{8C222443-D6D5-437E-8A06-7845FF64044F}" srcOrd="0" destOrd="0" presId="urn:microsoft.com/office/officeart/2005/8/layout/pyramid1"/>
    <dgm:cxn modelId="{012DE854-2496-4B5B-8A46-73138828DE4D}" type="presOf" srcId="{F014B99B-BC0F-4D51-AA35-03139CBC5BDF}" destId="{47753778-DDCD-4F66-8671-0963E55AC1AB}" srcOrd="0" destOrd="0" presId="urn:microsoft.com/office/officeart/2005/8/layout/pyramid1"/>
    <dgm:cxn modelId="{BDE106FA-02AC-4A07-A669-F4EAF32222C3}" type="presOf" srcId="{CBB2EDB4-08BF-49DB-9282-C363CE23E3D0}" destId="{8064A9E2-4365-4891-A563-4210D9FE6047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1BC21D79-B342-4295-8B3C-1A8BF579E2BA}" type="presOf" srcId="{CBB2EDB4-08BF-49DB-9282-C363CE23E3D0}" destId="{7099C5AD-A666-455F-9144-31509FAE35FB}" srcOrd="0" destOrd="0" presId="urn:microsoft.com/office/officeart/2005/8/layout/pyramid1"/>
    <dgm:cxn modelId="{2D6C1374-5551-4347-AA82-8A8760F80CBC}" type="presOf" srcId="{8380A261-4409-4C6B-8A07-0D64C5422F6D}" destId="{EB789FCB-B92C-4A52-BB06-4A95FA62001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6B1DA219-8BC6-4E89-8C6F-64725A647812}" type="presOf" srcId="{8380A261-4409-4C6B-8A07-0D64C5422F6D}" destId="{3405B94A-B110-4EB0-B99D-680A85764021}" srcOrd="0" destOrd="0" presId="urn:microsoft.com/office/officeart/2005/8/layout/pyramid1"/>
    <dgm:cxn modelId="{99234A18-F6AA-49F2-875A-B9C3145817C6}" type="presOf" srcId="{F014B99B-BC0F-4D51-AA35-03139CBC5BDF}" destId="{158BBE6D-1C8E-4142-827F-B1B32D20364B}" srcOrd="1" destOrd="0" presId="urn:microsoft.com/office/officeart/2005/8/layout/pyramid1"/>
    <dgm:cxn modelId="{9D01CD70-F623-444D-BC1A-1B1D883F589C}" type="presParOf" srcId="{8C222443-D6D5-437E-8A06-7845FF64044F}" destId="{8E592AC7-B094-488F-86DE-8B46AA43A5F7}" srcOrd="0" destOrd="0" presId="urn:microsoft.com/office/officeart/2005/8/layout/pyramid1"/>
    <dgm:cxn modelId="{6E3CF55E-F25D-4FF0-B98D-ADF239023E38}" type="presParOf" srcId="{8E592AC7-B094-488F-86DE-8B46AA43A5F7}" destId="{47753778-DDCD-4F66-8671-0963E55AC1AB}" srcOrd="0" destOrd="0" presId="urn:microsoft.com/office/officeart/2005/8/layout/pyramid1"/>
    <dgm:cxn modelId="{39A97A23-B282-485D-9E47-93BBFFC37FE5}" type="presParOf" srcId="{8E592AC7-B094-488F-86DE-8B46AA43A5F7}" destId="{158BBE6D-1C8E-4142-827F-B1B32D20364B}" srcOrd="1" destOrd="0" presId="urn:microsoft.com/office/officeart/2005/8/layout/pyramid1"/>
    <dgm:cxn modelId="{0E72F154-BD05-41E3-8A74-91454F8BD568}" type="presParOf" srcId="{8C222443-D6D5-437E-8A06-7845FF64044F}" destId="{08609C55-E487-4600-AFD0-8994D3888F22}" srcOrd="1" destOrd="0" presId="urn:microsoft.com/office/officeart/2005/8/layout/pyramid1"/>
    <dgm:cxn modelId="{44769FBB-64DF-4DA2-B446-DC8AFB43C3BD}" type="presParOf" srcId="{08609C55-E487-4600-AFD0-8994D3888F22}" destId="{7099C5AD-A666-455F-9144-31509FAE35FB}" srcOrd="0" destOrd="0" presId="urn:microsoft.com/office/officeart/2005/8/layout/pyramid1"/>
    <dgm:cxn modelId="{CEB22B8B-49BE-4ABD-AFAC-FD9583FB39C4}" type="presParOf" srcId="{08609C55-E487-4600-AFD0-8994D3888F22}" destId="{8064A9E2-4365-4891-A563-4210D9FE6047}" srcOrd="1" destOrd="0" presId="urn:microsoft.com/office/officeart/2005/8/layout/pyramid1"/>
    <dgm:cxn modelId="{59AB0D63-48B2-4A78-B2CB-E05616AD1E05}" type="presParOf" srcId="{8C222443-D6D5-437E-8A06-7845FF64044F}" destId="{4E66420A-6794-4210-A8DC-A681DFE94B26}" srcOrd="2" destOrd="0" presId="urn:microsoft.com/office/officeart/2005/8/layout/pyramid1"/>
    <dgm:cxn modelId="{6C0D8242-F2CF-4FA6-B6A4-F73BA3AF9C50}" type="presParOf" srcId="{4E66420A-6794-4210-A8DC-A681DFE94B26}" destId="{3405B94A-B110-4EB0-B99D-680A85764021}" srcOrd="0" destOrd="0" presId="urn:microsoft.com/office/officeart/2005/8/layout/pyramid1"/>
    <dgm:cxn modelId="{BBA25C89-7253-4E99-A6EF-6A595A9DB7BF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500197" y="0"/>
          <a:ext cx="1500197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500197" y="0"/>
        <a:ext cx="1500197" cy="1729979"/>
      </dsp:txXfrm>
    </dsp:sp>
    <dsp:sp modelId="{7099C5AD-A666-455F-9144-31509FAE35FB}">
      <dsp:nvSpPr>
        <dsp:cNvPr id="0" name=""/>
        <dsp:cNvSpPr/>
      </dsp:nvSpPr>
      <dsp:spPr>
        <a:xfrm>
          <a:off x="744728" y="1746742"/>
          <a:ext cx="3000395" cy="1729979"/>
        </a:xfrm>
        <a:prstGeom prst="trapezoid">
          <a:avLst>
            <a:gd name="adj" fmla="val 43359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269797" y="1746742"/>
        <a:ext cx="1950256" cy="1729979"/>
      </dsp:txXfrm>
    </dsp:sp>
    <dsp:sp modelId="{3405B94A-B110-4EB0-B99D-680A85764021}">
      <dsp:nvSpPr>
        <dsp:cNvPr id="0" name=""/>
        <dsp:cNvSpPr/>
      </dsp:nvSpPr>
      <dsp:spPr>
        <a:xfrm>
          <a:off x="0" y="3459958"/>
          <a:ext cx="4500593" cy="1729979"/>
        </a:xfrm>
        <a:prstGeom prst="trapezoid">
          <a:avLst>
            <a:gd name="adj" fmla="val 43359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tx1"/>
              </a:solidFill>
            </a:rPr>
            <a:t>Уровень </a:t>
          </a:r>
          <a:r>
            <a:rPr lang="ru-RU" sz="12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АДОУ «ДС №48 г. Челябинска»</a:t>
          </a:r>
          <a:endParaRPr lang="ru-RU" sz="1200" b="1" kern="1200" dirty="0">
            <a:solidFill>
              <a:schemeClr val="tx1"/>
            </a:solidFill>
          </a:endParaRPr>
        </a:p>
      </dsp:txBody>
      <dsp:txXfrm>
        <a:off x="787603" y="3459958"/>
        <a:ext cx="2925385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08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 noResize="1"/>
          </p:cNvSpPr>
          <p:nvPr>
            <p:ph type="sldImg"/>
          </p:nvPr>
        </p:nvSpPr>
        <p:spPr>
          <a:solidFill>
            <a:schemeClr val="accent1"/>
          </a:solidFill>
          <a:ln w="25400">
            <a:solidFill>
              <a:schemeClr val="accent1">
                <a:shade val="50000"/>
              </a:schemeClr>
            </a:solidFill>
            <a:prstDash val="solid"/>
          </a:ln>
        </p:spPr>
      </p:sp>
      <p:sp>
        <p:nvSpPr>
          <p:cNvPr id="3" name="Заметки 2"/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08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1.png"/><Relationship Id="rId7" Type="http://schemas.openxmlformats.org/officeDocument/2006/relationships/image" Target="../media/image10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76;&#1089;48.&#1088;&#1092;/%D0%B1%D0%B5%D1%80%D0%B5%D0%B6%D0%BB%D0%B8%D0%B2%D1%8B%D0%B5-%D1%82%D0%B5%D1%85%D0%BD%D0%BE%D0%BB%D0%BE%D0%B3%D0%B8%D0%B8/?ysclid=lil6z5vdcc442198089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автономное дошкольное образовательное учреждение</a:t>
            </a:r>
          </a:p>
          <a:p>
            <a:pPr algn="ctr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Детский сад № 48 г. Челябинска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а Челябинска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28" y="5119241"/>
            <a:ext cx="4851575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 МАДОУ «ДС №48 г. Челябинска»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.А. Бур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48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сетевого взаимодействия с родителями (законными представителями) воспитанников»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3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81568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10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3528" y="2420892"/>
            <a:ext cx="3714750" cy="20313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    </a:t>
            </a:r>
            <a:r>
              <a:rPr lang="ru-RU" sz="2800" dirty="0" smtClean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3 часа </a:t>
            </a:r>
            <a:r>
              <a:rPr lang="ru-RU" sz="2800" dirty="0" smtClean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28 </a:t>
            </a:r>
            <a:r>
              <a:rPr lang="ru-RU" sz="2800" dirty="0" smtClean="0">
                <a:solidFill>
                  <a:srgbClr val="2992A7"/>
                </a:solidFill>
                <a:latin typeface="+mn-lt"/>
                <a:cs typeface="Arial" panose="020B0604020202020204" pitchFamily="34" charset="0"/>
              </a:rPr>
              <a:t>мин.</a:t>
            </a:r>
            <a:endParaRPr lang="ru-RU" sz="2800" dirty="0">
              <a:solidFill>
                <a:srgbClr val="2992A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355654" y="2342492"/>
            <a:ext cx="371475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 smtClean="0">
                <a:solidFill>
                  <a:srgbClr val="0B7B87"/>
                </a:solidFill>
                <a:cs typeface="Arial" panose="020B0604020202020204" pitchFamily="34" charset="0"/>
              </a:rPr>
              <a:t>1 час</a:t>
            </a:r>
            <a:endParaRPr lang="ru-RU" sz="2800" dirty="0">
              <a:solidFill>
                <a:srgbClr val="0B7B87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2800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611560" y="4077072"/>
            <a:ext cx="770485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</a:t>
            </a:r>
            <a:r>
              <a:rPr lang="ru-RU" altLang="ru-RU" b="1" dirty="0" smtClean="0">
                <a:solidFill>
                  <a:srgbClr val="002060"/>
                </a:solidFill>
              </a:rPr>
              <a:t>ВРЕМЕНИ:  </a:t>
            </a:r>
            <a:endParaRPr lang="ru-RU" altLang="ru-RU" b="1" dirty="0">
              <a:solidFill>
                <a:srgbClr val="002060"/>
              </a:solidFill>
            </a:endParaRPr>
          </a:p>
          <a:p>
            <a:pPr algn="ctr"/>
            <a:r>
              <a:rPr lang="ru-RU" altLang="ru-RU" b="1" dirty="0" smtClean="0">
                <a:solidFill>
                  <a:srgbClr val="002060"/>
                </a:solidFill>
              </a:rPr>
              <a:t>2 часа </a:t>
            </a:r>
            <a:r>
              <a:rPr lang="ru-RU" altLang="ru-RU" b="1" dirty="0" smtClean="0">
                <a:solidFill>
                  <a:srgbClr val="002060"/>
                </a:solidFill>
              </a:rPr>
              <a:t>28 </a:t>
            </a:r>
            <a:r>
              <a:rPr lang="ru-RU" altLang="ru-RU" b="1" dirty="0" smtClean="0">
                <a:solidFill>
                  <a:srgbClr val="002060"/>
                </a:solidFill>
              </a:rPr>
              <a:t>мин.</a:t>
            </a:r>
            <a:endParaRPr lang="ru-RU" altLang="ru-RU" b="1" dirty="0">
              <a:solidFill>
                <a:srgbClr val="002060"/>
              </a:solidFill>
            </a:endParaRPr>
          </a:p>
          <a:p>
            <a:pPr algn="ctr"/>
            <a:r>
              <a:rPr lang="ru-RU" altLang="ru-RU" b="1" dirty="0" smtClean="0">
                <a:solidFill>
                  <a:srgbClr val="002060"/>
                </a:solidFill>
              </a:rPr>
              <a:t>71%</a:t>
            </a:r>
            <a:endParaRPr lang="ru-RU" altLang="ru-RU" b="1" dirty="0">
              <a:solidFill>
                <a:srgbClr val="002060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rot="5400000">
            <a:off x="3534873" y="2953970"/>
            <a:ext cx="1501379" cy="3175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331647" y="3789042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51520" y="4982770"/>
            <a:ext cx="820826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</a:p>
          <a:p>
            <a:pPr algn="ctr">
              <a:defRPr/>
            </a:pPr>
            <a:r>
              <a:rPr lang="ru-RU" sz="1600" b="1" dirty="0" smtClean="0">
                <a:solidFill>
                  <a:srgbClr val="2992A7"/>
                </a:solidFill>
                <a:latin typeface="Arial" panose="020B0604020202020204" pitchFamily="34" charset="0"/>
              </a:rPr>
              <a:t>Снижения временных затрат на подготовку публикаций</a:t>
            </a:r>
          </a:p>
          <a:p>
            <a:pPr algn="ctr">
              <a:defRPr/>
            </a:pPr>
            <a:r>
              <a:rPr lang="ru-RU" sz="1600" b="1" dirty="0">
                <a:solidFill>
                  <a:srgbClr val="2992A7"/>
                </a:solidFill>
                <a:latin typeface="Arial" panose="020B0604020202020204" pitchFamily="34" charset="0"/>
              </a:rPr>
              <a:t>Разработан алгоритм согласования  </a:t>
            </a:r>
            <a:r>
              <a:rPr lang="ru-RU" sz="1600" b="1" dirty="0" smtClean="0">
                <a:solidFill>
                  <a:srgbClr val="2992A7"/>
                </a:solidFill>
                <a:latin typeface="Arial" panose="020B0604020202020204" pitchFamily="34" charset="0"/>
              </a:rPr>
              <a:t>с родителями (законными представителями) </a:t>
            </a:r>
            <a:r>
              <a:rPr lang="ru-RU" sz="1600" b="1" dirty="0">
                <a:solidFill>
                  <a:srgbClr val="2992A7"/>
                </a:solidFill>
                <a:latin typeface="Arial" panose="020B0604020202020204" pitchFamily="34" charset="0"/>
              </a:rPr>
              <a:t>размещаемой информации</a:t>
            </a:r>
          </a:p>
          <a:p>
            <a:pPr algn="ctr">
              <a:defRPr/>
            </a:pPr>
            <a:endParaRPr lang="ru-RU" sz="1600" b="1" dirty="0">
              <a:solidFill>
                <a:srgbClr val="2992A7"/>
              </a:solidFill>
              <a:latin typeface="Arial" panose="020B060402020202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21" name="Рисунок 20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23988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1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</a:p>
          <a:p>
            <a:endParaRPr lang="ru-RU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lum/>
            <a:alphaModFix/>
          </a:blip>
          <a:srcRect/>
          <a:stretch>
            <a:fillRect/>
          </a:stretch>
        </p:blipFill>
        <p:spPr>
          <a:xfrm>
            <a:off x="2389284" y="3501120"/>
            <a:ext cx="4509446" cy="2798271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1034610"/>
              </p:ext>
            </p:extLst>
          </p:nvPr>
        </p:nvGraphicFramePr>
        <p:xfrm>
          <a:off x="382822" y="1556792"/>
          <a:ext cx="8229600" cy="1557528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3588106"/>
                <a:gridCol w="1955353"/>
                <a:gridCol w="2686141"/>
              </a:tblGrid>
              <a:tr h="19367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я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ущий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ь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ой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ь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9367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енные затраты на получение информац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0 минут*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более 60 минут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67665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фициальная страница МАДОУ «ДС №48 г. Челябинска» ВКонтакте с актуальной информацией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личие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676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цент охвата родителей (законных представителей),  использующих </a:t>
                      </a: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фициальную группу ДОУ Вконтакте  для обратной связи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*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менее 80%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6766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горитм согласования с родителями (законными представителями) размещаемой информации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личие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422594" y="3132040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Показатель будет уточнён в процессе реализаци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358113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трелка: вниз 10"/>
          <p:cNvSpPr/>
          <p:nvPr/>
        </p:nvSpPr>
        <p:spPr>
          <a:xfrm>
            <a:off x="7219800" y="4817160"/>
            <a:ext cx="484200" cy="500760"/>
          </a:xfrm>
          <a:custGeom>
            <a:avLst>
              <a:gd name="f0" fmla="val 16200"/>
              <a:gd name="f1" fmla="val 5400"/>
            </a:avLst>
            <a:gdLst>
              <a:gd name="f2" fmla="val w"/>
              <a:gd name="f3" fmla="val h"/>
              <a:gd name="f4" fmla="val 0"/>
              <a:gd name="f5" fmla="val 21600"/>
              <a:gd name="f6" fmla="val 10800"/>
              <a:gd name="f7" fmla="*/ f2 1 21600"/>
              <a:gd name="f8" fmla="*/ f3 1 21600"/>
              <a:gd name="f9" fmla="pin 0 f1 10800"/>
              <a:gd name="f10" fmla="pin 0 f0 21600"/>
              <a:gd name="f11" fmla="val f9"/>
              <a:gd name="f12" fmla="val f10"/>
              <a:gd name="f13" fmla="+- 21600 0 f9"/>
              <a:gd name="f14" fmla="*/ f9 f7 1"/>
              <a:gd name="f15" fmla="*/ f10 f8 1"/>
              <a:gd name="f16" fmla="*/ 0 f8 1"/>
              <a:gd name="f17" fmla="+- 21600 0 f12"/>
              <a:gd name="f18" fmla="*/ f11 f7 1"/>
              <a:gd name="f19" fmla="*/ f13 f7 1"/>
              <a:gd name="f20" fmla="*/ f17 f11 1"/>
              <a:gd name="f21" fmla="*/ f20 1 10800"/>
              <a:gd name="f22" fmla="+- f12 f21 0"/>
              <a:gd name="f23" fmla="*/ f22 f8 1"/>
            </a:gdLst>
            <a:ahLst>
              <a:ahXY gdRefX="f1" minX="f4" maxX="f6" gdRefY="f0" minY="f4" maxY="f5">
                <a:pos x="f14" y="f15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16" r="f19" b="f23"/>
            <a:pathLst>
              <a:path w="21600" h="21600">
                <a:moveTo>
                  <a:pt x="f11" y="f4"/>
                </a:moveTo>
                <a:lnTo>
                  <a:pt x="f11" y="f12"/>
                </a:lnTo>
                <a:lnTo>
                  <a:pt x="f4" y="f12"/>
                </a:lnTo>
                <a:lnTo>
                  <a:pt x="f6" y="f5"/>
                </a:lnTo>
                <a:lnTo>
                  <a:pt x="f5" y="f12"/>
                </a:lnTo>
                <a:lnTo>
                  <a:pt x="f13" y="f12"/>
                </a:lnTo>
                <a:lnTo>
                  <a:pt x="f13" y="f4"/>
                </a:lnTo>
                <a:close/>
              </a:path>
            </a:pathLst>
          </a:custGeom>
          <a:solidFill>
            <a:srgbClr val="0070C0"/>
          </a:solidFill>
          <a:ln w="9360">
            <a:solidFill>
              <a:srgbClr val="4A7EBB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ru-RU" sz="1800" b="0" i="0" u="none" strike="noStrike" kern="1200">
              <a:ln>
                <a:noFill/>
              </a:ln>
              <a:latin typeface="Arial" pitchFamily="18"/>
              <a:ea typeface="Lucida Sans Unicode" pitchFamily="2"/>
              <a:cs typeface="Mangal" pitchFamily="2"/>
            </a:endParaRPr>
          </a:p>
        </p:txBody>
      </p:sp>
      <p:sp>
        <p:nvSpPr>
          <p:cNvPr id="3" name="Заголовок 1"/>
          <p:cNvSpPr txBox="1">
            <a:spLocks noGrp="1"/>
          </p:cNvSpPr>
          <p:nvPr>
            <p:ph type="title" idx="4294967295"/>
          </p:nvPr>
        </p:nvSpPr>
        <p:spPr>
          <a:xfrm>
            <a:off x="755639" y="620640"/>
            <a:ext cx="7714800" cy="791640"/>
          </a:xfrm>
        </p:spPr>
        <p:txBody>
          <a:bodyPr>
            <a:normAutofit fontScale="90000"/>
          </a:bodyPr>
          <a:lstStyle>
            <a:defPPr lvl="0">
              <a:buSzPct val="45000"/>
              <a:buFont typeface="StarSymbol"/>
              <a:buNone/>
            </a:defPPr>
            <a:lvl1pPr lvl="0">
              <a:buSzPct val="45000"/>
              <a:buFont typeface="StarSymbol"/>
              <a:buChar char="●"/>
            </a:lvl1pPr>
            <a:lvl2pPr lvl="1">
              <a:buSzPct val="45000"/>
              <a:buFont typeface="StarSymbol"/>
              <a:buChar char="●"/>
            </a:lvl2pPr>
            <a:lvl3pPr lvl="2">
              <a:buSzPct val="45000"/>
              <a:buFont typeface="StarSymbol"/>
              <a:buChar char="●"/>
            </a:lvl3pPr>
            <a:lvl4pPr lvl="3">
              <a:buSzPct val="45000"/>
              <a:buFont typeface="StarSymbol"/>
              <a:buChar char="●"/>
            </a:lvl4pPr>
            <a:lvl5pPr lvl="4">
              <a:buSzPct val="45000"/>
              <a:buFont typeface="StarSymbol"/>
              <a:buChar char="●"/>
            </a:lvl5pPr>
            <a:lvl6pPr lvl="5">
              <a:buSzPct val="45000"/>
              <a:buFont typeface="StarSymbol"/>
              <a:buChar char="●"/>
            </a:lvl6pPr>
            <a:lvl7pPr lvl="6">
              <a:buSzPct val="45000"/>
              <a:buFont typeface="StarSymbol"/>
              <a:buChar char="●"/>
            </a:lvl7pPr>
            <a:lvl8pPr lvl="7">
              <a:buSzPct val="45000"/>
              <a:buFont typeface="StarSymbol"/>
              <a:buChar char="●"/>
            </a:lvl8pPr>
            <a:lvl9pPr lvl="8">
              <a:buSzPct val="45000"/>
              <a:buFont typeface="StarSymbol"/>
              <a:buChar char="●"/>
            </a:lvl9pPr>
          </a:lstStyle>
          <a:p>
            <a:pPr lvl="0">
              <a:buNone/>
            </a:pPr>
            <a:r>
              <a:rPr lang="ru-RU" sz="2400" b="1">
                <a:latin typeface="Times New Roman" pitchFamily="18"/>
                <a:cs typeface="Times New Roman" pitchFamily="18"/>
              </a:rPr>
              <a:t>Стандартизация процесса (алгоритм)</a:t>
            </a:r>
            <a:br>
              <a:rPr lang="ru-RU" sz="2400" b="1">
                <a:latin typeface="Times New Roman" pitchFamily="18"/>
                <a:cs typeface="Times New Roman" pitchFamily="18"/>
              </a:rPr>
            </a:br>
            <a:r>
              <a:rPr lang="ru-RU" sz="2400" b="1">
                <a:latin typeface="Times New Roman" pitchFamily="18"/>
                <a:cs typeface="Times New Roman" pitchFamily="18"/>
              </a:rPr>
              <a:t>«Алгоритм </a:t>
            </a:r>
            <a:r>
              <a:rPr lang="ru-RU" sz="2400" b="1">
                <a:latin typeface="Times New Roman" pitchFamily="18"/>
                <a:cs typeface="Times New Roman" pitchFamily="2"/>
              </a:rPr>
              <a:t>согласования с родителями размещаемой информации</a:t>
            </a:r>
            <a:r>
              <a:rPr lang="ru-RU" sz="2400" b="1">
                <a:latin typeface="Times New Roman" pitchFamily="18"/>
                <a:cs typeface="Times New Roman" pitchFamily="18"/>
              </a:rPr>
              <a:t>»</a:t>
            </a:r>
          </a:p>
        </p:txBody>
      </p:sp>
      <p:sp>
        <p:nvSpPr>
          <p:cNvPr id="4" name="Заголовок 1"/>
          <p:cNvSpPr/>
          <p:nvPr/>
        </p:nvSpPr>
        <p:spPr>
          <a:xfrm>
            <a:off x="5580000" y="169920"/>
            <a:ext cx="3250800" cy="56160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noFill/>
          <a:ln>
            <a:noFill/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pPr>
            <a:r>
              <a:rPr lang="ru-RU" sz="2400" b="1" i="0" u="none" strike="noStrike" kern="1200" spc="0">
                <a:ln>
                  <a:noFill/>
                </a:ln>
                <a:solidFill>
                  <a:srgbClr val="000000"/>
                </a:solidFill>
                <a:latin typeface="Times New Roman" pitchFamily="18"/>
                <a:ea typeface="Lucida Sans Unicode" pitchFamily="2"/>
                <a:cs typeface="Times New Roman" pitchFamily="18"/>
              </a:rPr>
              <a:t>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 t="27031" b="32173"/>
          <a:stretch>
            <a:fillRect/>
          </a:stretch>
        </p:blipFill>
        <p:spPr>
          <a:xfrm>
            <a:off x="179280" y="14400"/>
            <a:ext cx="2376000" cy="58716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552443" y="1964999"/>
            <a:ext cx="2412000" cy="130608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00B0F0"/>
          </a:solidFill>
          <a:ln w="9360">
            <a:solidFill>
              <a:srgbClr val="4F6228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pPr>
            <a:r>
              <a:rPr lang="ru-RU" sz="1600" b="0" i="0" u="none" strike="noStrike" kern="1200" spc="0">
                <a:ln>
                  <a:noFill/>
                </a:ln>
                <a:solidFill>
                  <a:srgbClr val="FFFFFF"/>
                </a:solidFill>
                <a:latin typeface="Calibri" pitchFamily="18"/>
                <a:ea typeface="Lucida Sans Unicode" pitchFamily="2"/>
                <a:cs typeface="Mangal" pitchFamily="2"/>
              </a:rPr>
              <a:t>Информирование родителей (законных представителей) об официальной группе Вконтакте</a:t>
            </a:r>
          </a:p>
        </p:txBody>
      </p:sp>
      <p:sp>
        <p:nvSpPr>
          <p:cNvPr id="7" name="Прямоугольник 5"/>
          <p:cNvSpPr/>
          <p:nvPr/>
        </p:nvSpPr>
        <p:spPr>
          <a:xfrm>
            <a:off x="3396443" y="1964999"/>
            <a:ext cx="2412000" cy="130608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00B0F0"/>
          </a:solidFill>
          <a:ln w="9360">
            <a:solidFill>
              <a:srgbClr val="4F6228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600"/>
            </a:pPr>
            <a:r>
              <a:rPr lang="ru-RU" sz="1400" b="0" i="0" u="none" strike="noStrike" kern="1200" spc="0">
                <a:ln>
                  <a:noFill/>
                </a:ln>
                <a:solidFill>
                  <a:srgbClr val="FFFFFF"/>
                </a:solidFill>
                <a:latin typeface="Calibri" pitchFamily="18"/>
                <a:ea typeface="Lucida Sans Unicode" pitchFamily="2"/>
                <a:cs typeface="Mangal" pitchFamily="2"/>
              </a:rPr>
              <a:t>Подписание согласия о размещении фото и видео материалов с ребенком в официальной группе Вконтакте</a:t>
            </a:r>
          </a:p>
        </p:txBody>
      </p:sp>
      <p:sp>
        <p:nvSpPr>
          <p:cNvPr id="8" name="Прямоугольник 5"/>
          <p:cNvSpPr/>
          <p:nvPr/>
        </p:nvSpPr>
        <p:spPr>
          <a:xfrm>
            <a:off x="6240442" y="1954918"/>
            <a:ext cx="2412000" cy="130608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00B0F0"/>
          </a:solidFill>
          <a:ln w="9360">
            <a:solidFill>
              <a:srgbClr val="4F6228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300"/>
            </a:pPr>
            <a:r>
              <a:rPr lang="ru-RU" sz="1300" b="0" i="0" u="none" strike="noStrike" kern="1200" spc="0" dirty="0">
                <a:ln>
                  <a:noFill/>
                </a:ln>
                <a:solidFill>
                  <a:srgbClr val="FFFFFF"/>
                </a:solidFill>
                <a:latin typeface="Calibri" pitchFamily="18"/>
                <a:ea typeface="Lucida Sans Unicode" pitchFamily="2"/>
                <a:cs typeface="Mangal" pitchFamily="2"/>
              </a:rPr>
              <a:t>Включение детей в списки с отказом или согласием на размещение фото и видео материалов с ребенком в официальной группе Вконтакте (для каждой группы)</a:t>
            </a:r>
          </a:p>
        </p:txBody>
      </p:sp>
      <p:sp>
        <p:nvSpPr>
          <p:cNvPr id="9" name="Прямоугольник 5"/>
          <p:cNvSpPr/>
          <p:nvPr/>
        </p:nvSpPr>
        <p:spPr>
          <a:xfrm>
            <a:off x="3491999" y="5317920"/>
            <a:ext cx="2412000" cy="130608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00B0F0"/>
          </a:solidFill>
          <a:ln w="9360">
            <a:solidFill>
              <a:srgbClr val="4F6228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/>
            </a:pPr>
            <a:r>
              <a:rPr lang="ru-RU" sz="1400" b="0" i="0" u="none" strike="noStrike" kern="1200" spc="0">
                <a:ln>
                  <a:noFill/>
                </a:ln>
                <a:solidFill>
                  <a:srgbClr val="FFFFFF"/>
                </a:solidFill>
                <a:latin typeface="Calibri" pitchFamily="18"/>
                <a:ea typeface="Lucida Sans Unicode" pitchFamily="2"/>
                <a:cs typeface="Mangal" pitchFamily="2"/>
              </a:rPr>
              <a:t>Уточнение списков с отказом или согласием на размещение фото и видео материалов с ребенком в официальной группе Вконтакте</a:t>
            </a:r>
          </a:p>
        </p:txBody>
      </p:sp>
      <p:sp>
        <p:nvSpPr>
          <p:cNvPr id="10" name="Прямоугольник 5"/>
          <p:cNvSpPr/>
          <p:nvPr/>
        </p:nvSpPr>
        <p:spPr>
          <a:xfrm>
            <a:off x="6372000" y="5317920"/>
            <a:ext cx="2412000" cy="130608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00B0F0"/>
          </a:solidFill>
          <a:ln w="9360">
            <a:solidFill>
              <a:srgbClr val="4F6228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400"/>
            </a:pPr>
            <a:r>
              <a:rPr lang="ru-RU" sz="1400" b="0" i="0" u="none" strike="noStrike" kern="1200" spc="0">
                <a:ln>
                  <a:noFill/>
                </a:ln>
                <a:solidFill>
                  <a:srgbClr val="FFFFFF"/>
                </a:solidFill>
                <a:latin typeface="Calibri" pitchFamily="18"/>
                <a:ea typeface="Lucida Sans Unicode" pitchFamily="2"/>
                <a:cs typeface="Mangal" pitchFamily="2"/>
              </a:rPr>
              <a:t>Актуализация информации о работе официальной группе Вконтакте на общих родительских собраниях (3 раза в год)</a:t>
            </a:r>
          </a:p>
        </p:txBody>
      </p:sp>
      <p:sp>
        <p:nvSpPr>
          <p:cNvPr id="12" name="Прямоугольник 5"/>
          <p:cNvSpPr/>
          <p:nvPr/>
        </p:nvSpPr>
        <p:spPr>
          <a:xfrm>
            <a:off x="6263999" y="3687161"/>
            <a:ext cx="2412000" cy="130608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00B0F0"/>
          </a:solidFill>
          <a:ln w="9360">
            <a:solidFill>
              <a:srgbClr val="4F6228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pPr>
            <a:r>
              <a:rPr lang="ru-RU" sz="1800" b="0" i="0" u="none" strike="noStrike" kern="1200" spc="0">
                <a:ln>
                  <a:noFill/>
                </a:ln>
                <a:solidFill>
                  <a:srgbClr val="FFFFFF"/>
                </a:solidFill>
                <a:latin typeface="Calibri" pitchFamily="18"/>
                <a:ea typeface="Lucida Sans Unicode" pitchFamily="2"/>
                <a:cs typeface="Mangal" pitchFamily="2"/>
              </a:rPr>
              <a:t>Передача списков воспитателям групп</a:t>
            </a:r>
          </a:p>
        </p:txBody>
      </p:sp>
      <p:sp>
        <p:nvSpPr>
          <p:cNvPr id="13" name="Прямоугольник 5"/>
          <p:cNvSpPr/>
          <p:nvPr/>
        </p:nvSpPr>
        <p:spPr>
          <a:xfrm>
            <a:off x="684000" y="5317920"/>
            <a:ext cx="2412000" cy="1306080"/>
          </a:xfrm>
          <a:custGeom>
            <a:avLst/>
            <a:gdLst>
              <a:gd name="f0" fmla="val 0"/>
              <a:gd name="f1" fmla="val 21600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l" t="t" r="r" b="b"/>
            <a:pathLst>
              <a:path w="21600" h="21600">
                <a:moveTo>
                  <a:pt x="f0" y="f0"/>
                </a:moveTo>
                <a:lnTo>
                  <a:pt x="f1" y="f0"/>
                </a:lnTo>
                <a:lnTo>
                  <a:pt x="f1" y="f1"/>
                </a:lnTo>
                <a:lnTo>
                  <a:pt x="f0" y="f1"/>
                </a:lnTo>
                <a:lnTo>
                  <a:pt x="f0" y="f0"/>
                </a:lnTo>
                <a:close/>
              </a:path>
            </a:pathLst>
          </a:custGeom>
          <a:solidFill>
            <a:srgbClr val="00B0F0"/>
          </a:solidFill>
          <a:ln w="9360">
            <a:solidFill>
              <a:srgbClr val="4F6228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algn="ctr" rtl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/>
            </a:pPr>
            <a:r>
              <a:rPr lang="ru-RU" sz="1800" b="0" i="0" u="none" strike="noStrike" kern="1200" spc="0" dirty="0">
                <a:ln>
                  <a:noFill/>
                </a:ln>
                <a:solidFill>
                  <a:srgbClr val="FFFFFF"/>
                </a:solidFill>
                <a:latin typeface="Calibri" pitchFamily="18"/>
                <a:ea typeface="Lucida Sans Unicode" pitchFamily="2"/>
                <a:cs typeface="Mangal" pitchFamily="2"/>
              </a:rPr>
              <a:t>Передача </a:t>
            </a:r>
            <a:r>
              <a:rPr lang="ru-RU" sz="1800" b="0" u="none" strike="noStrike" kern="1200" spc="0" dirty="0">
                <a:ln>
                  <a:noFill/>
                </a:ln>
                <a:solidFill>
                  <a:srgbClr val="FFFFFF"/>
                </a:solidFill>
                <a:latin typeface="Calibri" pitchFamily="18"/>
                <a:ea typeface="Lucida Sans Unicode" pitchFamily="2"/>
                <a:cs typeface="Mangal" pitchFamily="2"/>
              </a:rPr>
              <a:t>сп</a:t>
            </a:r>
            <a:r>
              <a:rPr lang="ru-RU" sz="1800" b="0" i="0" u="none" strike="noStrike" kern="1200" spc="0" dirty="0">
                <a:ln>
                  <a:noFill/>
                </a:ln>
                <a:solidFill>
                  <a:srgbClr val="FFFFFF"/>
                </a:solidFill>
                <a:latin typeface="Calibri" pitchFamily="18"/>
                <a:ea typeface="Lucida Sans Unicode" pitchFamily="2"/>
                <a:cs typeface="Mangal" pitchFamily="2"/>
              </a:rPr>
              <a:t>исков воспитателям групп</a:t>
            </a:r>
          </a:p>
        </p:txBody>
      </p:sp>
      <p:sp>
        <p:nvSpPr>
          <p:cNvPr id="14" name="Стрелка: вниз 26"/>
          <p:cNvSpPr/>
          <p:nvPr/>
        </p:nvSpPr>
        <p:spPr>
          <a:xfrm rot="16200000">
            <a:off x="2939783" y="2449438"/>
            <a:ext cx="484200" cy="429120"/>
          </a:xfrm>
          <a:custGeom>
            <a:avLst>
              <a:gd name="f0" fmla="val 16200"/>
              <a:gd name="f1" fmla="val 5400"/>
            </a:avLst>
            <a:gdLst>
              <a:gd name="f2" fmla="val w"/>
              <a:gd name="f3" fmla="val h"/>
              <a:gd name="f4" fmla="val 0"/>
              <a:gd name="f5" fmla="val 21600"/>
              <a:gd name="f6" fmla="val 10800"/>
              <a:gd name="f7" fmla="*/ f2 1 21600"/>
              <a:gd name="f8" fmla="*/ f3 1 21600"/>
              <a:gd name="f9" fmla="pin 0 f1 10800"/>
              <a:gd name="f10" fmla="pin 0 f0 21600"/>
              <a:gd name="f11" fmla="val f9"/>
              <a:gd name="f12" fmla="val f10"/>
              <a:gd name="f13" fmla="+- 21600 0 f9"/>
              <a:gd name="f14" fmla="*/ f9 f7 1"/>
              <a:gd name="f15" fmla="*/ f10 f8 1"/>
              <a:gd name="f16" fmla="*/ 0 f8 1"/>
              <a:gd name="f17" fmla="+- 21600 0 f12"/>
              <a:gd name="f18" fmla="*/ f11 f7 1"/>
              <a:gd name="f19" fmla="*/ f13 f7 1"/>
              <a:gd name="f20" fmla="*/ f17 f11 1"/>
              <a:gd name="f21" fmla="*/ f20 1 10800"/>
              <a:gd name="f22" fmla="+- f12 f21 0"/>
              <a:gd name="f23" fmla="*/ f22 f8 1"/>
            </a:gdLst>
            <a:ahLst>
              <a:ahXY gdRefX="f1" minX="f4" maxX="f6" gdRefY="f0" minY="f4" maxY="f5">
                <a:pos x="f14" y="f15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16" r="f19" b="f23"/>
            <a:pathLst>
              <a:path w="21600" h="21600">
                <a:moveTo>
                  <a:pt x="f11" y="f4"/>
                </a:moveTo>
                <a:lnTo>
                  <a:pt x="f11" y="f12"/>
                </a:lnTo>
                <a:lnTo>
                  <a:pt x="f4" y="f12"/>
                </a:lnTo>
                <a:lnTo>
                  <a:pt x="f6" y="f5"/>
                </a:lnTo>
                <a:lnTo>
                  <a:pt x="f5" y="f12"/>
                </a:lnTo>
                <a:lnTo>
                  <a:pt x="f13" y="f12"/>
                </a:lnTo>
                <a:lnTo>
                  <a:pt x="f13" y="f4"/>
                </a:lnTo>
                <a:close/>
              </a:path>
            </a:pathLst>
          </a:custGeom>
          <a:solidFill>
            <a:srgbClr val="0070C0"/>
          </a:solidFill>
          <a:ln w="9360">
            <a:solidFill>
              <a:srgbClr val="4A7EBB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ru-RU" sz="1800" b="0" i="0" u="none" strike="noStrike" kern="1200">
              <a:ln>
                <a:noFill/>
              </a:ln>
              <a:latin typeface="Arial" pitchFamily="18"/>
              <a:ea typeface="Lucida Sans Unicode" pitchFamily="2"/>
              <a:cs typeface="Mangal" pitchFamily="2"/>
            </a:endParaRPr>
          </a:p>
        </p:txBody>
      </p:sp>
      <p:sp>
        <p:nvSpPr>
          <p:cNvPr id="15" name="Стрелка: вниз 26"/>
          <p:cNvSpPr/>
          <p:nvPr/>
        </p:nvSpPr>
        <p:spPr>
          <a:xfrm rot="16200000">
            <a:off x="5783782" y="2464258"/>
            <a:ext cx="484200" cy="429120"/>
          </a:xfrm>
          <a:custGeom>
            <a:avLst>
              <a:gd name="f0" fmla="val 16200"/>
              <a:gd name="f1" fmla="val 5400"/>
            </a:avLst>
            <a:gdLst>
              <a:gd name="f2" fmla="val w"/>
              <a:gd name="f3" fmla="val h"/>
              <a:gd name="f4" fmla="val 0"/>
              <a:gd name="f5" fmla="val 21600"/>
              <a:gd name="f6" fmla="val 10800"/>
              <a:gd name="f7" fmla="*/ f2 1 21600"/>
              <a:gd name="f8" fmla="*/ f3 1 21600"/>
              <a:gd name="f9" fmla="pin 0 f1 10800"/>
              <a:gd name="f10" fmla="pin 0 f0 21600"/>
              <a:gd name="f11" fmla="val f9"/>
              <a:gd name="f12" fmla="val f10"/>
              <a:gd name="f13" fmla="+- 21600 0 f9"/>
              <a:gd name="f14" fmla="*/ f9 f7 1"/>
              <a:gd name="f15" fmla="*/ f10 f8 1"/>
              <a:gd name="f16" fmla="*/ 0 f8 1"/>
              <a:gd name="f17" fmla="+- 21600 0 f12"/>
              <a:gd name="f18" fmla="*/ f11 f7 1"/>
              <a:gd name="f19" fmla="*/ f13 f7 1"/>
              <a:gd name="f20" fmla="*/ f17 f11 1"/>
              <a:gd name="f21" fmla="*/ f20 1 10800"/>
              <a:gd name="f22" fmla="+- f12 f21 0"/>
              <a:gd name="f23" fmla="*/ f22 f8 1"/>
            </a:gdLst>
            <a:ahLst>
              <a:ahXY gdRefX="f1" minX="f4" maxX="f6" gdRefY="f0" minY="f4" maxY="f5">
                <a:pos x="f14" y="f15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16" r="f19" b="f23"/>
            <a:pathLst>
              <a:path w="21600" h="21600">
                <a:moveTo>
                  <a:pt x="f11" y="f4"/>
                </a:moveTo>
                <a:lnTo>
                  <a:pt x="f11" y="f12"/>
                </a:lnTo>
                <a:lnTo>
                  <a:pt x="f4" y="f12"/>
                </a:lnTo>
                <a:lnTo>
                  <a:pt x="f6" y="f5"/>
                </a:lnTo>
                <a:lnTo>
                  <a:pt x="f5" y="f12"/>
                </a:lnTo>
                <a:lnTo>
                  <a:pt x="f13" y="f12"/>
                </a:lnTo>
                <a:lnTo>
                  <a:pt x="f13" y="f4"/>
                </a:lnTo>
                <a:close/>
              </a:path>
            </a:pathLst>
          </a:custGeom>
          <a:solidFill>
            <a:srgbClr val="0070C0"/>
          </a:solidFill>
          <a:ln w="9360">
            <a:solidFill>
              <a:srgbClr val="4A7EBB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ru-RU" sz="1800" b="0" i="0" u="none" strike="noStrike" kern="1200">
              <a:ln>
                <a:noFill/>
              </a:ln>
              <a:latin typeface="Arial" pitchFamily="18"/>
              <a:ea typeface="Lucida Sans Unicode" pitchFamily="2"/>
              <a:cs typeface="Mangal" pitchFamily="2"/>
            </a:endParaRPr>
          </a:p>
        </p:txBody>
      </p:sp>
      <p:sp>
        <p:nvSpPr>
          <p:cNvPr id="16" name="Стрелка: вниз 26"/>
          <p:cNvSpPr/>
          <p:nvPr/>
        </p:nvSpPr>
        <p:spPr>
          <a:xfrm rot="5400000" flipH="1">
            <a:off x="5895899" y="5715899"/>
            <a:ext cx="484200" cy="468001"/>
          </a:xfrm>
          <a:custGeom>
            <a:avLst>
              <a:gd name="f0" fmla="val 16200"/>
              <a:gd name="f1" fmla="val 5400"/>
            </a:avLst>
            <a:gdLst>
              <a:gd name="f2" fmla="val w"/>
              <a:gd name="f3" fmla="val h"/>
              <a:gd name="f4" fmla="val 0"/>
              <a:gd name="f5" fmla="val 21600"/>
              <a:gd name="f6" fmla="val 10800"/>
              <a:gd name="f7" fmla="*/ f2 1 21600"/>
              <a:gd name="f8" fmla="*/ f3 1 21600"/>
              <a:gd name="f9" fmla="pin 0 f1 10800"/>
              <a:gd name="f10" fmla="pin 0 f0 21600"/>
              <a:gd name="f11" fmla="val f9"/>
              <a:gd name="f12" fmla="val f10"/>
              <a:gd name="f13" fmla="+- 21600 0 f9"/>
              <a:gd name="f14" fmla="*/ f9 f7 1"/>
              <a:gd name="f15" fmla="*/ f10 f8 1"/>
              <a:gd name="f16" fmla="*/ 0 f8 1"/>
              <a:gd name="f17" fmla="+- 21600 0 f12"/>
              <a:gd name="f18" fmla="*/ f11 f7 1"/>
              <a:gd name="f19" fmla="*/ f13 f7 1"/>
              <a:gd name="f20" fmla="*/ f17 f11 1"/>
              <a:gd name="f21" fmla="*/ f20 1 10800"/>
              <a:gd name="f22" fmla="+- f12 f21 0"/>
              <a:gd name="f23" fmla="*/ f22 f8 1"/>
            </a:gdLst>
            <a:ahLst>
              <a:ahXY gdRefX="f1" minX="f4" maxX="f6" gdRefY="f0" minY="f4" maxY="f5">
                <a:pos x="f14" y="f15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16" r="f19" b="f23"/>
            <a:pathLst>
              <a:path w="21600" h="21600">
                <a:moveTo>
                  <a:pt x="f11" y="f4"/>
                </a:moveTo>
                <a:lnTo>
                  <a:pt x="f11" y="f12"/>
                </a:lnTo>
                <a:lnTo>
                  <a:pt x="f4" y="f12"/>
                </a:lnTo>
                <a:lnTo>
                  <a:pt x="f6" y="f5"/>
                </a:lnTo>
                <a:lnTo>
                  <a:pt x="f5" y="f12"/>
                </a:lnTo>
                <a:lnTo>
                  <a:pt x="f13" y="f12"/>
                </a:lnTo>
                <a:lnTo>
                  <a:pt x="f13" y="f4"/>
                </a:lnTo>
                <a:close/>
              </a:path>
            </a:pathLst>
          </a:custGeom>
          <a:solidFill>
            <a:srgbClr val="0070C0"/>
          </a:solidFill>
          <a:ln w="9360">
            <a:solidFill>
              <a:srgbClr val="4A7EBB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ru-RU" sz="1800" b="0" i="0" u="none" strike="noStrike" kern="1200">
              <a:ln>
                <a:noFill/>
              </a:ln>
              <a:latin typeface="Arial" pitchFamily="18"/>
              <a:ea typeface="Lucida Sans Unicode" pitchFamily="2"/>
              <a:cs typeface="Mangal" pitchFamily="2"/>
            </a:endParaRPr>
          </a:p>
        </p:txBody>
      </p:sp>
      <p:sp>
        <p:nvSpPr>
          <p:cNvPr id="17" name="Стрелка: вниз 26"/>
          <p:cNvSpPr/>
          <p:nvPr/>
        </p:nvSpPr>
        <p:spPr>
          <a:xfrm rot="5400000" flipH="1">
            <a:off x="3035339" y="5787540"/>
            <a:ext cx="484200" cy="429120"/>
          </a:xfrm>
          <a:custGeom>
            <a:avLst>
              <a:gd name="f0" fmla="val 16200"/>
              <a:gd name="f1" fmla="val 5400"/>
            </a:avLst>
            <a:gdLst>
              <a:gd name="f2" fmla="val w"/>
              <a:gd name="f3" fmla="val h"/>
              <a:gd name="f4" fmla="val 0"/>
              <a:gd name="f5" fmla="val 21600"/>
              <a:gd name="f6" fmla="val 10800"/>
              <a:gd name="f7" fmla="*/ f2 1 21600"/>
              <a:gd name="f8" fmla="*/ f3 1 21600"/>
              <a:gd name="f9" fmla="pin 0 f1 10800"/>
              <a:gd name="f10" fmla="pin 0 f0 21600"/>
              <a:gd name="f11" fmla="val f9"/>
              <a:gd name="f12" fmla="val f10"/>
              <a:gd name="f13" fmla="+- 21600 0 f9"/>
              <a:gd name="f14" fmla="*/ f9 f7 1"/>
              <a:gd name="f15" fmla="*/ f10 f8 1"/>
              <a:gd name="f16" fmla="*/ 0 f8 1"/>
              <a:gd name="f17" fmla="+- 21600 0 f12"/>
              <a:gd name="f18" fmla="*/ f11 f7 1"/>
              <a:gd name="f19" fmla="*/ f13 f7 1"/>
              <a:gd name="f20" fmla="*/ f17 f11 1"/>
              <a:gd name="f21" fmla="*/ f20 1 10800"/>
              <a:gd name="f22" fmla="+- f12 f21 0"/>
              <a:gd name="f23" fmla="*/ f22 f8 1"/>
            </a:gdLst>
            <a:ahLst>
              <a:ahXY gdRefX="f1" minX="f4" maxX="f6" gdRefY="f0" minY="f4" maxY="f5">
                <a:pos x="f14" y="f15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16" r="f19" b="f23"/>
            <a:pathLst>
              <a:path w="21600" h="21600">
                <a:moveTo>
                  <a:pt x="f11" y="f4"/>
                </a:moveTo>
                <a:lnTo>
                  <a:pt x="f11" y="f12"/>
                </a:lnTo>
                <a:lnTo>
                  <a:pt x="f4" y="f12"/>
                </a:lnTo>
                <a:lnTo>
                  <a:pt x="f6" y="f5"/>
                </a:lnTo>
                <a:lnTo>
                  <a:pt x="f5" y="f12"/>
                </a:lnTo>
                <a:lnTo>
                  <a:pt x="f13" y="f12"/>
                </a:lnTo>
                <a:lnTo>
                  <a:pt x="f13" y="f4"/>
                </a:lnTo>
                <a:close/>
              </a:path>
            </a:pathLst>
          </a:custGeom>
          <a:solidFill>
            <a:srgbClr val="0070C0"/>
          </a:solidFill>
          <a:ln w="9360">
            <a:solidFill>
              <a:srgbClr val="4A7EBB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ru-RU" sz="1800" b="0" i="0" u="none" strike="noStrike" kern="1200">
              <a:ln>
                <a:noFill/>
              </a:ln>
              <a:latin typeface="Arial" pitchFamily="18"/>
              <a:ea typeface="Lucida Sans Unicode" pitchFamily="2"/>
              <a:cs typeface="Mangal" pitchFamily="2"/>
            </a:endParaRPr>
          </a:p>
        </p:txBody>
      </p:sp>
      <p:sp>
        <p:nvSpPr>
          <p:cNvPr id="18" name="Стрелка: вниз 10"/>
          <p:cNvSpPr/>
          <p:nvPr/>
        </p:nvSpPr>
        <p:spPr>
          <a:xfrm>
            <a:off x="7204342" y="3281801"/>
            <a:ext cx="484200" cy="405360"/>
          </a:xfrm>
          <a:custGeom>
            <a:avLst>
              <a:gd name="f0" fmla="val 16200"/>
              <a:gd name="f1" fmla="val 5400"/>
            </a:avLst>
            <a:gdLst>
              <a:gd name="f2" fmla="val w"/>
              <a:gd name="f3" fmla="val h"/>
              <a:gd name="f4" fmla="val 0"/>
              <a:gd name="f5" fmla="val 21600"/>
              <a:gd name="f6" fmla="val 10800"/>
              <a:gd name="f7" fmla="*/ f2 1 21600"/>
              <a:gd name="f8" fmla="*/ f3 1 21600"/>
              <a:gd name="f9" fmla="pin 0 f1 10800"/>
              <a:gd name="f10" fmla="pin 0 f0 21600"/>
              <a:gd name="f11" fmla="val f9"/>
              <a:gd name="f12" fmla="val f10"/>
              <a:gd name="f13" fmla="+- 21600 0 f9"/>
              <a:gd name="f14" fmla="*/ f9 f7 1"/>
              <a:gd name="f15" fmla="*/ f10 f8 1"/>
              <a:gd name="f16" fmla="*/ 0 f8 1"/>
              <a:gd name="f17" fmla="+- 21600 0 f12"/>
              <a:gd name="f18" fmla="*/ f11 f7 1"/>
              <a:gd name="f19" fmla="*/ f13 f7 1"/>
              <a:gd name="f20" fmla="*/ f17 f11 1"/>
              <a:gd name="f21" fmla="*/ f20 1 10800"/>
              <a:gd name="f22" fmla="+- f12 f21 0"/>
              <a:gd name="f23" fmla="*/ f22 f8 1"/>
            </a:gdLst>
            <a:ahLst>
              <a:ahXY gdRefX="f1" minX="f4" maxX="f6" gdRefY="f0" minY="f4" maxY="f5">
                <a:pos x="f14" y="f15"/>
              </a:ahXY>
            </a:ahLst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8" t="f16" r="f19" b="f23"/>
            <a:pathLst>
              <a:path w="21600" h="21600">
                <a:moveTo>
                  <a:pt x="f11" y="f4"/>
                </a:moveTo>
                <a:lnTo>
                  <a:pt x="f11" y="f12"/>
                </a:lnTo>
                <a:lnTo>
                  <a:pt x="f4" y="f12"/>
                </a:lnTo>
                <a:lnTo>
                  <a:pt x="f6" y="f5"/>
                </a:lnTo>
                <a:lnTo>
                  <a:pt x="f5" y="f12"/>
                </a:lnTo>
                <a:lnTo>
                  <a:pt x="f13" y="f12"/>
                </a:lnTo>
                <a:lnTo>
                  <a:pt x="f13" y="f4"/>
                </a:lnTo>
                <a:close/>
              </a:path>
            </a:pathLst>
          </a:custGeom>
          <a:solidFill>
            <a:srgbClr val="0070C0"/>
          </a:solidFill>
          <a:ln w="9360">
            <a:solidFill>
              <a:srgbClr val="4A7EBB"/>
            </a:solidFill>
            <a:prstDash val="solid"/>
          </a:ln>
        </p:spPr>
        <p:txBody>
          <a:bodyPr vert="horz" wrap="square" lIns="90000" tIns="45000" rIns="90000" bIns="45000" anchor="ctr" anchorCtr="0" compatLnSpc="0"/>
          <a:lstStyle/>
          <a:p>
            <a:pPr marL="0" marR="0" lvl="0" indent="0" rtl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</a:pPr>
            <a:endParaRPr lang="ru-RU" sz="1800" b="0" i="0" u="none" strike="noStrike" kern="1200">
              <a:ln>
                <a:noFill/>
              </a:ln>
              <a:latin typeface="Arial" pitchFamily="18"/>
              <a:ea typeface="Lucida Sans Unicode" pitchFamily="2"/>
              <a:cs typeface="Mangal" pitchFamily="2"/>
            </a:endParaRPr>
          </a:p>
        </p:txBody>
      </p:sp>
    </p:spTree>
    <p:extLst>
      <p:ext uri="{BB962C8B-B14F-4D97-AF65-F5344CB8AC3E}">
        <p14:creationId xmlns:p14="http://schemas.microsoft.com/office/powerpoint/2010/main" val="3700462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2ED9E91D-C7A3-417B-8447-C9745605A7DA}"/>
              </a:ext>
            </a:extLst>
          </p:cNvPr>
          <p:cNvSpPr/>
          <p:nvPr/>
        </p:nvSpPr>
        <p:spPr>
          <a:xfrm>
            <a:off x="755576" y="126876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67E098DF-3089-4F1F-8A1D-75A1407185D3}"/>
              </a:ext>
            </a:extLst>
          </p:cNvPr>
          <p:cNvSpPr/>
          <p:nvPr/>
        </p:nvSpPr>
        <p:spPr>
          <a:xfrm>
            <a:off x="4581357" y="1268760"/>
            <a:ext cx="3960440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6C35B742-BC40-4565-B4B2-29D3173AEB69}"/>
              </a:ext>
            </a:extLst>
          </p:cNvPr>
          <p:cNvSpPr/>
          <p:nvPr/>
        </p:nvSpPr>
        <p:spPr>
          <a:xfrm>
            <a:off x="755576" y="3789040"/>
            <a:ext cx="3672408" cy="23762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2BF29339-E006-4902-8017-CC0490F48467}"/>
              </a:ext>
            </a:extLst>
          </p:cNvPr>
          <p:cNvSpPr/>
          <p:nvPr/>
        </p:nvSpPr>
        <p:spPr>
          <a:xfrm>
            <a:off x="4644007" y="3813781"/>
            <a:ext cx="3897789" cy="235152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57FDE22F-8DC2-4596-831C-F85C6A7E521F}"/>
              </a:ext>
            </a:extLst>
          </p:cNvPr>
          <p:cNvSpPr txBox="1">
            <a:spLocks/>
          </p:cNvSpPr>
          <p:nvPr/>
        </p:nvSpPr>
        <p:spPr>
          <a:xfrm>
            <a:off x="1619672" y="1012426"/>
            <a:ext cx="1944216" cy="51266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>
                <a:solidFill>
                  <a:srgbClr val="FF0000"/>
                </a:solidFill>
              </a:rPr>
              <a:t>ФОТО</a:t>
            </a:r>
          </a:p>
          <a:p>
            <a:r>
              <a:rPr lang="ru-RU" sz="3200" dirty="0">
                <a:solidFill>
                  <a:srgbClr val="FF0000"/>
                </a:solidFill>
              </a:rPr>
              <a:t>до </a:t>
            </a: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xmlns="" id="{7808A9F0-B84D-443A-824D-519B8F07DC2C}"/>
              </a:ext>
            </a:extLst>
          </p:cNvPr>
          <p:cNvSpPr txBox="1">
            <a:spLocks/>
          </p:cNvSpPr>
          <p:nvPr/>
        </p:nvSpPr>
        <p:spPr>
          <a:xfrm>
            <a:off x="5564189" y="963020"/>
            <a:ext cx="1944216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>
                <a:solidFill>
                  <a:srgbClr val="FF0000"/>
                </a:solidFill>
              </a:rPr>
              <a:t>ФОТО</a:t>
            </a:r>
          </a:p>
          <a:p>
            <a:r>
              <a:rPr lang="ru-RU" sz="3200" dirty="0">
                <a:solidFill>
                  <a:srgbClr val="FF0000"/>
                </a:solidFill>
              </a:rPr>
              <a:t>после 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9" name="Рисунок 18" descr="gerd_mal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2" name="Picture 2" descr="C:\Users\Пользователь\Desktop\Бережливые технологии\фото\UjtKJPIbJUQ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988840"/>
            <a:ext cx="1724438" cy="1293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3" name="Picture 3" descr="C:\Users\Пользователь\Desktop\Бережливые технологии\фото\I4pzeQc9LIw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6046" y="1988840"/>
            <a:ext cx="1782906" cy="1337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4" name="Picture 4" descr="C:\Users\Пользователь\Desktop\Бережливые технологии\фото\X_weOM66Paw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457" y="4293096"/>
            <a:ext cx="1652430" cy="1239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5" name="Picture 5" descr="C:\Users\Пользователь\Desktop\Бережливые технологии\фото\GOYVDl4oOwM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0014" y="4221607"/>
            <a:ext cx="1843065" cy="1382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6" name="Picture 6" descr="C:\Users\Пользователь\Desktop\Бережливые технологии\фото\te_hbVU6cxc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1829304"/>
            <a:ext cx="1209299" cy="1612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07" name="Picture 7" descr="C:\Users\Пользователь\Desktop\Бережливые технологии\фото\lpYZGJ6l6U0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3140" y="4097904"/>
            <a:ext cx="2377701" cy="1783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2711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14</a:t>
            </a:fld>
            <a:endParaRPr lang="ru-RU"/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AB7F9214-65B7-4DA9-8E70-1F7568E6EF8E}"/>
              </a:ext>
            </a:extLst>
          </p:cNvPr>
          <p:cNvSpPr/>
          <p:nvPr/>
        </p:nvSpPr>
        <p:spPr>
          <a:xfrm>
            <a:off x="683568" y="1099765"/>
            <a:ext cx="75013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FF0000"/>
                </a:solidFill>
              </a:rPr>
              <a:t>Ссылка на сайт </a:t>
            </a:r>
            <a:r>
              <a:rPr lang="ru-RU" sz="2000" dirty="0" smtClean="0">
                <a:solidFill>
                  <a:srgbClr val="FF0000"/>
                </a:solidFill>
              </a:rPr>
              <a:t>ОО</a:t>
            </a:r>
            <a:endParaRPr lang="ru-RU" sz="2000" dirty="0">
              <a:solidFill>
                <a:srgbClr val="FF0000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2FDB8E0C-BD3E-44F6-8E70-117F0B963AF4}"/>
              </a:ext>
            </a:extLst>
          </p:cNvPr>
          <p:cNvSpPr/>
          <p:nvPr/>
        </p:nvSpPr>
        <p:spPr>
          <a:xfrm>
            <a:off x="209533" y="1439607"/>
            <a:ext cx="8992911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hlinkClick r:id="rId3"/>
              </a:rPr>
              <a:t>Бережливые технологии — Детский сад №48 г. Челябинска (</a:t>
            </a:r>
            <a:r>
              <a:rPr lang="ru-RU" sz="2000" dirty="0" err="1">
                <a:hlinkClick r:id="rId3"/>
              </a:rPr>
              <a:t>xn</a:t>
            </a:r>
            <a:r>
              <a:rPr lang="ru-RU" sz="2000" dirty="0">
                <a:hlinkClick r:id="rId3"/>
              </a:rPr>
              <a:t>--48-jlc6c.xn--p1ai)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0" name="Рисунок 9" descr="gerd_mal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2073241"/>
            <a:ext cx="8128273" cy="4433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084414" y="669774"/>
            <a:ext cx="7044877" cy="4549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2" name="Рисунок 11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433" y="1153001"/>
            <a:ext cx="7455942" cy="5253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8073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ик 70"/>
          <p:cNvSpPr/>
          <p:nvPr/>
        </p:nvSpPr>
        <p:spPr>
          <a:xfrm>
            <a:off x="889166" y="1143000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2326838" y="386104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379" name="TextBox 48"/>
          <p:cNvSpPr txBox="1">
            <a:spLocks noChangeArrowheads="1"/>
          </p:cNvSpPr>
          <p:nvPr/>
        </p:nvSpPr>
        <p:spPr bwMode="auto">
          <a:xfrm>
            <a:off x="250825" y="6500813"/>
            <a:ext cx="460851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ремя протекания процесса </a:t>
            </a:r>
            <a:r>
              <a:rPr lang="ru-RU" sz="16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– 208 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. 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412587"/>
              </p:ext>
            </p:extLst>
          </p:nvPr>
        </p:nvGraphicFramePr>
        <p:xfrm>
          <a:off x="483844" y="1603534"/>
          <a:ext cx="1751856" cy="131976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ое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ообщение информации</a:t>
                      </a:r>
                    </a:p>
                  </a:txBody>
                  <a:tcPr marL="9525" marR="9525" marT="9525" marB="0" anchor="ctr"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9" name="Таблица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3180288"/>
              </p:ext>
            </p:extLst>
          </p:nvPr>
        </p:nvGraphicFramePr>
        <p:xfrm>
          <a:off x="4886178" y="5071122"/>
          <a:ext cx="3928268" cy="1312539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2826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 Длительное ожидание </a:t>
                      </a: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передачи фото и видео материалов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 Отсутствие </a:t>
                      </a: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алгоритма согласования с родителями размещаемой информаци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 Необходимость </a:t>
                      </a: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уточнения информации у исполнителя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4 Потеря </a:t>
                      </a: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актуальности информации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1" name="Прямоугольник 60"/>
          <p:cNvSpPr/>
          <p:nvPr/>
        </p:nvSpPr>
        <p:spPr>
          <a:xfrm>
            <a:off x="142875" y="1501631"/>
            <a:ext cx="231794" cy="1373335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500562" y="4968296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5406" name="Прямоугольник 54"/>
          <p:cNvSpPr>
            <a:spLocks noChangeArrowheads="1"/>
          </p:cNvSpPr>
          <p:nvPr/>
        </p:nvSpPr>
        <p:spPr bwMode="auto">
          <a:xfrm>
            <a:off x="5437801" y="4692794"/>
            <a:ext cx="34575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Ы:</a:t>
            </a:r>
          </a:p>
        </p:txBody>
      </p:sp>
      <p:sp>
        <p:nvSpPr>
          <p:cNvPr id="70" name="Пятно 1 60"/>
          <p:cNvSpPr/>
          <p:nvPr/>
        </p:nvSpPr>
        <p:spPr>
          <a:xfrm>
            <a:off x="6111973" y="1152667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84" name="Пятно 1 60"/>
          <p:cNvSpPr/>
          <p:nvPr/>
        </p:nvSpPr>
        <p:spPr>
          <a:xfrm>
            <a:off x="6205123" y="2924720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2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7" name="Пятно 1 60"/>
          <p:cNvSpPr/>
          <p:nvPr/>
        </p:nvSpPr>
        <p:spPr>
          <a:xfrm>
            <a:off x="3995936" y="4748356"/>
            <a:ext cx="646113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4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2" name="Пятно 1 60"/>
          <p:cNvSpPr/>
          <p:nvPr/>
        </p:nvSpPr>
        <p:spPr>
          <a:xfrm>
            <a:off x="8163707" y="3008483"/>
            <a:ext cx="644525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 smtClean="0">
                <a:solidFill>
                  <a:schemeClr val="bg1"/>
                </a:solidFill>
                <a:cs typeface="Arial" pitchFamily="34" charset="0"/>
              </a:rPr>
              <a:t>3</a:t>
            </a:r>
            <a:endParaRPr lang="ru-RU" sz="8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04" name="Пятно 1 60"/>
          <p:cNvSpPr/>
          <p:nvPr/>
        </p:nvSpPr>
        <p:spPr>
          <a:xfrm>
            <a:off x="8122361" y="121264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Прямоугольник 5"/>
          <p:cNvSpPr>
            <a:spLocks noChangeArrowheads="1"/>
          </p:cNvSpPr>
          <p:nvPr/>
        </p:nvSpPr>
        <p:spPr bwMode="auto">
          <a:xfrm>
            <a:off x="142875" y="515047"/>
            <a:ext cx="894851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арта текущего состояния процесса </a:t>
            </a:r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Оптимизация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цесса сетевого взаимодействия с родителями (законными представителями)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воспитанников»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9088612"/>
              </p:ext>
            </p:extLst>
          </p:nvPr>
        </p:nvGraphicFramePr>
        <p:xfrm>
          <a:off x="2740598" y="1603534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 по УВР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ение информации о мероприят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0" name="Таблица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8351246"/>
              </p:ext>
            </p:extLst>
          </p:nvPr>
        </p:nvGraphicFramePr>
        <p:xfrm>
          <a:off x="4889426" y="1603534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 по УВР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прос на фото- и видео- материалы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1" name="Таблица 10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1330725"/>
              </p:ext>
            </p:extLst>
          </p:nvPr>
        </p:nvGraphicFramePr>
        <p:xfrm>
          <a:off x="6985306" y="1643238"/>
          <a:ext cx="1751856" cy="131976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ие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дготовка фото- и видео- материалов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-36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9828413"/>
              </p:ext>
            </p:extLst>
          </p:nvPr>
        </p:nvGraphicFramePr>
        <p:xfrm>
          <a:off x="411154" y="3419947"/>
          <a:ext cx="1751856" cy="131976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ие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тправка материалов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089662"/>
              </p:ext>
            </p:extLst>
          </p:nvPr>
        </p:nvGraphicFramePr>
        <p:xfrm>
          <a:off x="2748706" y="3424705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рший воспит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бор фото- и видео-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материалов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-24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6" name="Таблица 10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9099838"/>
              </p:ext>
            </p:extLst>
          </p:nvPr>
        </p:nvGraphicFramePr>
        <p:xfrm>
          <a:off x="4921575" y="3424705"/>
          <a:ext cx="1751856" cy="16023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рший воспит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бор фото- и видео- материалов для публикации с учетом письменных разрешений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-60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7" name="Таблица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4716362"/>
              </p:ext>
            </p:extLst>
          </p:nvPr>
        </p:nvGraphicFramePr>
        <p:xfrm>
          <a:off x="6985306" y="3442105"/>
          <a:ext cx="1751856" cy="11521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766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тарший воспит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формление публик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4-36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8" name="Таблица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1080903"/>
              </p:ext>
            </p:extLst>
          </p:nvPr>
        </p:nvGraphicFramePr>
        <p:xfrm>
          <a:off x="483844" y="5187571"/>
          <a:ext cx="1751856" cy="11521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766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ведующий ДОУ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гласование публик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-30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9" name="Таблица 10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2460173"/>
              </p:ext>
            </p:extLst>
          </p:nvPr>
        </p:nvGraphicFramePr>
        <p:xfrm>
          <a:off x="2573274" y="5259087"/>
          <a:ext cx="1751856" cy="12496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7666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УВР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змещени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нформации в официальной группе В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0" name="Прямоугольник 109"/>
          <p:cNvSpPr/>
          <p:nvPr/>
        </p:nvSpPr>
        <p:spPr>
          <a:xfrm>
            <a:off x="3275856" y="112221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111" name="Прямоугольник 110"/>
          <p:cNvSpPr/>
          <p:nvPr/>
        </p:nvSpPr>
        <p:spPr>
          <a:xfrm>
            <a:off x="5469036" y="1104697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/>
              <a:t> </a:t>
            </a:r>
          </a:p>
        </p:txBody>
      </p:sp>
      <p:sp>
        <p:nvSpPr>
          <p:cNvPr id="112" name="Прямоугольник 111"/>
          <p:cNvSpPr/>
          <p:nvPr/>
        </p:nvSpPr>
        <p:spPr>
          <a:xfrm>
            <a:off x="7520770" y="113441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4</a:t>
            </a:r>
            <a:r>
              <a:rPr lang="ru-RU" sz="1200" b="1" dirty="0"/>
              <a:t> </a:t>
            </a:r>
          </a:p>
        </p:txBody>
      </p:sp>
      <p:sp>
        <p:nvSpPr>
          <p:cNvPr id="113" name="Прямоугольник 112"/>
          <p:cNvSpPr/>
          <p:nvPr/>
        </p:nvSpPr>
        <p:spPr>
          <a:xfrm>
            <a:off x="1041565" y="299695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3275856" y="300132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6</a:t>
            </a:r>
            <a:r>
              <a:rPr lang="ru-RU" sz="1200" b="1" dirty="0"/>
              <a:t> 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5562186" y="300132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7</a:t>
            </a:r>
            <a:r>
              <a:rPr lang="ru-RU" sz="1200" b="1" dirty="0"/>
              <a:t> 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7520770" y="299695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8</a:t>
            </a:r>
            <a:r>
              <a:rPr lang="ru-RU" sz="1200" b="1" dirty="0"/>
              <a:t> 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1041565" y="4716318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9</a:t>
            </a:r>
            <a:r>
              <a:rPr lang="ru-RU" sz="1200" b="1" dirty="0"/>
              <a:t> 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3275855" y="4788114"/>
            <a:ext cx="720081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0</a:t>
            </a:r>
            <a:r>
              <a:rPr lang="ru-RU" sz="1200" b="1" dirty="0"/>
              <a:t> </a:t>
            </a:r>
          </a:p>
        </p:txBody>
      </p:sp>
      <p:sp>
        <p:nvSpPr>
          <p:cNvPr id="119" name="Стрелка вправо 118"/>
          <p:cNvSpPr/>
          <p:nvPr/>
        </p:nvSpPr>
        <p:spPr>
          <a:xfrm>
            <a:off x="4548528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0" name="Стрелка вправо 119"/>
          <p:cNvSpPr/>
          <p:nvPr/>
        </p:nvSpPr>
        <p:spPr>
          <a:xfrm>
            <a:off x="6679001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1" name="Стрелка вправо 120"/>
          <p:cNvSpPr/>
          <p:nvPr/>
        </p:nvSpPr>
        <p:spPr>
          <a:xfrm>
            <a:off x="2345023" y="1999692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2" name="Стрелка вправо 121"/>
          <p:cNvSpPr/>
          <p:nvPr/>
        </p:nvSpPr>
        <p:spPr>
          <a:xfrm>
            <a:off x="4548528" y="386104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3" name="Стрелка вправо 122"/>
          <p:cNvSpPr/>
          <p:nvPr/>
        </p:nvSpPr>
        <p:spPr>
          <a:xfrm>
            <a:off x="6679001" y="3906738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4" name="Стрелка вправо 123"/>
          <p:cNvSpPr/>
          <p:nvPr/>
        </p:nvSpPr>
        <p:spPr>
          <a:xfrm>
            <a:off x="2212459" y="5535774"/>
            <a:ext cx="342622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5" name="Рисунок 44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093864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238064"/>
              </p:ext>
            </p:extLst>
          </p:nvPr>
        </p:nvGraphicFramePr>
        <p:xfrm>
          <a:off x="361949" y="1484784"/>
          <a:ext cx="7954467" cy="46333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44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31165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52839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Длительное ожидание передачи фото и видео материалов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енные потери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отсутствие ограничений на количество предоставляемых фото и видео материалов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формление публикации исполнителем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Отсутствие алгоритма</a:t>
                      </a:r>
                      <a:r>
                        <a:rPr lang="ru-RU" alt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согласования с родителями размещаемой информации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разработанного 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лгоритма</a:t>
                      </a:r>
                      <a:r>
                        <a:rPr lang="ru-RU" alt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согласования с родителями размещаемой информации</a:t>
                      </a:r>
                      <a:endParaRPr lang="ru-RU" altLang="ru-RU" sz="1400" b="0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just"/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анный алгоритм согласовании с родителями размещаемой информации</a:t>
                      </a:r>
                    </a:p>
                    <a:p>
                      <a:pPr algn="just"/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Необходимость уточнения информации</a:t>
                      </a:r>
                      <a:r>
                        <a:rPr lang="ru-RU" alt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у исполнителя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авление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е полной информации о мероприятии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формление публикации исполнителем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Потеря актуальности информации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ольшое количество сотрудников вовлеченных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процесс </a:t>
                      </a:r>
                      <a:r>
                        <a:rPr lang="ru-RU" sz="1400" b="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бликования</a:t>
                      </a:r>
                      <a:r>
                        <a:rPr lang="ru-RU" sz="14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нформации</a:t>
                      </a: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формление публикации исполнителем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4" name="Рисунок 13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56549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5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425983219"/>
              </p:ext>
            </p:extLst>
          </p:nvPr>
        </p:nvGraphicFramePr>
        <p:xfrm>
          <a:off x="123844" y="959978"/>
          <a:ext cx="4500593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834933" y="1500188"/>
            <a:ext cx="3769515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ровне не выявлен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857750" y="2903826"/>
            <a:ext cx="3746698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</a:t>
            </a:r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ровне не выявлены</a:t>
            </a:r>
            <a:endParaRPr lang="ru-RU" sz="16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876732" y="4149080"/>
            <a:ext cx="3865563" cy="2160240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ctr"/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ru-R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ительное ожидание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дачи фото и видео материалов</a:t>
            </a:r>
            <a:endParaRPr lang="ru-RU" sz="2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fontAlgn="ctr"/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Отсутствие алгоритма согласования с родителями размещаемой информации</a:t>
            </a:r>
            <a:endParaRPr lang="ru-RU" sz="2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fontAlgn="ctr"/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Необходимость уточнения информации у исполнителя</a:t>
            </a:r>
            <a:endParaRPr lang="ru-RU" sz="28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fontAlgn="ctr"/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Потеря актуальности информации</a:t>
            </a:r>
            <a:endParaRPr lang="ru-RU" sz="2800" b="1" i="0" u="none" strike="noStrike" dirty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ятно 1 60"/>
          <p:cNvSpPr/>
          <p:nvPr/>
        </p:nvSpPr>
        <p:spPr>
          <a:xfrm>
            <a:off x="676134" y="554355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1665315" y="5543556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2781374" y="5543558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3" y="522303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2373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458318" y="797801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3563888" y="5543557"/>
            <a:ext cx="646112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3" name="Рисунок 22" descr="gerd_mal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985012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8446" name="TextBox 48"/>
          <p:cNvSpPr txBox="1">
            <a:spLocks noChangeArrowheads="1"/>
          </p:cNvSpPr>
          <p:nvPr/>
        </p:nvSpPr>
        <p:spPr bwMode="auto">
          <a:xfrm>
            <a:off x="209414" y="6045552"/>
            <a:ext cx="47148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протекания процесса –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0 </a:t>
            </a: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  <a:r>
              <a:rPr lang="ru-RU" sz="1600" b="1" dirty="0">
                <a:solidFill>
                  <a:srgbClr val="00B0F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5592668" y="4110318"/>
            <a:ext cx="288032" cy="1512168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188245" y="2471272"/>
            <a:ext cx="251520" cy="1224136"/>
          </a:xfrm>
          <a:prstGeom prst="rect">
            <a:avLst/>
          </a:prstGeom>
          <a:solidFill>
            <a:srgbClr val="0070C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129595" y="778865"/>
            <a:ext cx="889362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Карта целевого состояния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оцесса</a:t>
            </a:r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Оптимизация процесса сетевого взаимодействия с родителями (законными представителями) воспитанников»</a:t>
            </a:r>
          </a:p>
        </p:txBody>
      </p:sp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4082238"/>
              </p:ext>
            </p:extLst>
          </p:nvPr>
        </p:nvGraphicFramePr>
        <p:xfrm>
          <a:off x="578941" y="2525881"/>
          <a:ext cx="1751856" cy="131976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ие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ообщени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нформ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-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1043608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1</a:t>
            </a:r>
            <a:r>
              <a:rPr lang="ru-RU" sz="1200" b="1" dirty="0"/>
              <a:t>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97976" y="292494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8434318"/>
              </p:ext>
            </p:extLst>
          </p:nvPr>
        </p:nvGraphicFramePr>
        <p:xfrm>
          <a:off x="2824550" y="2528786"/>
          <a:ext cx="1751856" cy="116952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 УВР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лучение информации о мероприят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4976710"/>
              </p:ext>
            </p:extLst>
          </p:nvPr>
        </p:nvGraphicFramePr>
        <p:xfrm>
          <a:off x="5097660" y="2306007"/>
          <a:ext cx="1751856" cy="175260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ие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ыбор фото и видео материалов с учетом письменных разрешений родителей на публикацию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-30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1898966"/>
              </p:ext>
            </p:extLst>
          </p:nvPr>
        </p:nvGraphicFramePr>
        <p:xfrm>
          <a:off x="7250080" y="2471272"/>
          <a:ext cx="1498384" cy="1319767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4983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ие</a:t>
                      </a:r>
                      <a:r>
                        <a:rPr lang="ru-RU" sz="1100" b="1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формление публикации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-1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36" name="Таблица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2845935"/>
              </p:ext>
            </p:extLst>
          </p:nvPr>
        </p:nvGraphicFramePr>
        <p:xfrm>
          <a:off x="395536" y="4452959"/>
          <a:ext cx="1980186" cy="126708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98018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дагогические работники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Отправка в предложенные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новости официальной группы В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-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7" name="Стрелка вправо 36"/>
          <p:cNvSpPr/>
          <p:nvPr/>
        </p:nvSpPr>
        <p:spPr>
          <a:xfrm>
            <a:off x="4644008" y="297525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Стрелка вправо 37"/>
          <p:cNvSpPr/>
          <p:nvPr/>
        </p:nvSpPr>
        <p:spPr>
          <a:xfrm>
            <a:off x="6876256" y="297222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38"/>
          <p:cNvSpPr/>
          <p:nvPr/>
        </p:nvSpPr>
        <p:spPr>
          <a:xfrm>
            <a:off x="8770176" y="2972224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 вправо 39"/>
          <p:cNvSpPr/>
          <p:nvPr/>
        </p:nvSpPr>
        <p:spPr>
          <a:xfrm>
            <a:off x="2370599" y="4850126"/>
            <a:ext cx="373824" cy="377212"/>
          </a:xfrm>
          <a:prstGeom prst="rightArrow">
            <a:avLst>
              <a:gd name="adj1" fmla="val 50000"/>
              <a:gd name="adj2" fmla="val 35301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362200" y="2000249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2</a:t>
            </a:r>
            <a:r>
              <a:rPr lang="ru-RU" sz="1200" b="1" dirty="0"/>
              <a:t>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652120" y="184251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3</a:t>
            </a:r>
            <a:r>
              <a:rPr lang="ru-RU" sz="1200" b="1" dirty="0" smtClean="0"/>
              <a:t> </a:t>
            </a:r>
            <a:endParaRPr lang="ru-RU" sz="1200" b="1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7606937" y="1857922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4</a:t>
            </a:r>
            <a:r>
              <a:rPr lang="ru-RU" sz="1200" b="1" dirty="0"/>
              <a:t> 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362200" y="3963536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</a:t>
            </a:r>
            <a:r>
              <a:rPr lang="ru-RU" sz="1200" b="1" dirty="0" smtClean="0">
                <a:solidFill>
                  <a:srgbClr val="002060"/>
                </a:solidFill>
              </a:rPr>
              <a:t>6</a:t>
            </a:r>
            <a:r>
              <a:rPr lang="ru-RU" sz="1200" b="1" dirty="0" smtClean="0"/>
              <a:t> </a:t>
            </a:r>
            <a:endParaRPr lang="ru-RU" sz="1200" b="1" dirty="0"/>
          </a:p>
        </p:txBody>
      </p:sp>
      <p:sp>
        <p:nvSpPr>
          <p:cNvPr id="45" name="Облако 44">
            <a:extLst>
              <a:ext uri="{FF2B5EF4-FFF2-40B4-BE49-F238E27FC236}">
                <a16:creationId xmlns=""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4005137" y="2053870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1</a:t>
            </a:r>
          </a:p>
        </p:txBody>
      </p:sp>
      <p:sp>
        <p:nvSpPr>
          <p:cNvPr id="46" name="Облако 45">
            <a:extLst>
              <a:ext uri="{FF2B5EF4-FFF2-40B4-BE49-F238E27FC236}">
                <a16:creationId xmlns="" xmlns:a16="http://schemas.microsoft.com/office/drawing/2014/main" id="{E460C5E6-5047-4C75-8C7B-4DE90D77B07D}"/>
              </a:ext>
            </a:extLst>
          </p:cNvPr>
          <p:cNvSpPr/>
          <p:nvPr/>
        </p:nvSpPr>
        <p:spPr>
          <a:xfrm>
            <a:off x="6388398" y="1883799"/>
            <a:ext cx="674770" cy="318720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2</a:t>
            </a:r>
          </a:p>
        </p:txBody>
      </p:sp>
      <p:sp>
        <p:nvSpPr>
          <p:cNvPr id="47" name="Облако 46">
            <a:extLst>
              <a:ext uri="{FF2B5EF4-FFF2-40B4-BE49-F238E27FC236}">
                <a16:creationId xmlns="" xmlns:a16="http://schemas.microsoft.com/office/drawing/2014/main" id="{7710A555-C240-441B-877A-74BA51DF6CA7}"/>
              </a:ext>
            </a:extLst>
          </p:cNvPr>
          <p:cNvSpPr/>
          <p:nvPr/>
        </p:nvSpPr>
        <p:spPr>
          <a:xfrm>
            <a:off x="8297049" y="1971262"/>
            <a:ext cx="631935" cy="351615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8BFCFCEC-6A8A-4879-960C-08B3AEDF6CD5}"/>
              </a:ext>
            </a:extLst>
          </p:cNvPr>
          <p:cNvSpPr txBox="1"/>
          <p:nvPr/>
        </p:nvSpPr>
        <p:spPr>
          <a:xfrm>
            <a:off x="5880700" y="4097744"/>
            <a:ext cx="3160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редложения по улучшению</a:t>
            </a: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694201"/>
              </p:ext>
            </p:extLst>
          </p:nvPr>
        </p:nvGraphicFramePr>
        <p:xfrm>
          <a:off x="5993927" y="4661520"/>
          <a:ext cx="2933746" cy="85342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93374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, 3, 4  Оформление публикации исполнителем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13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100" b="1" dirty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ru-RU" altLang="ru-RU" sz="1100" b="1" dirty="0" smtClean="0">
                          <a:latin typeface="Times New Roman" pitchFamily="18" charset="0"/>
                          <a:cs typeface="Times New Roman" pitchFamily="18" charset="0"/>
                        </a:rPr>
                        <a:t>. Разработанный алгоритм согласования с родителями размещаемой информации</a:t>
                      </a:r>
                      <a:endParaRPr lang="ru-RU" altLang="ru-RU" sz="11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1402" marR="91402" marT="45717" marB="4571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3" name="Облако 52">
            <a:extLst>
              <a:ext uri="{FF2B5EF4-FFF2-40B4-BE49-F238E27FC236}">
                <a16:creationId xmlns="" xmlns:a16="http://schemas.microsoft.com/office/drawing/2014/main" id="{9ACCF01B-3199-413F-BB8D-FAEC7F3795E3}"/>
              </a:ext>
            </a:extLst>
          </p:cNvPr>
          <p:cNvSpPr/>
          <p:nvPr/>
        </p:nvSpPr>
        <p:spPr>
          <a:xfrm>
            <a:off x="4047772" y="4097744"/>
            <a:ext cx="677993" cy="328831"/>
          </a:xfrm>
          <a:prstGeom prst="cloud">
            <a:avLst/>
          </a:prstGeom>
          <a:ln>
            <a:solidFill>
              <a:srgbClr val="00B05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/>
              <a:t>4</a:t>
            </a:r>
          </a:p>
        </p:txBody>
      </p:sp>
      <p:sp>
        <p:nvSpPr>
          <p:cNvPr id="48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9" name="Рисунок 48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Прямоугольник 49"/>
          <p:cNvSpPr/>
          <p:nvPr/>
        </p:nvSpPr>
        <p:spPr>
          <a:xfrm>
            <a:off x="1043608" y="3959963"/>
            <a:ext cx="642937" cy="360363"/>
          </a:xfrm>
          <a:prstGeom prst="rect">
            <a:avLst/>
          </a:prstGeom>
          <a:solidFill>
            <a:srgbClr val="9EE0F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rgbClr val="002060"/>
                </a:solidFill>
              </a:rPr>
              <a:t>ШАГ 5</a:t>
            </a:r>
            <a:r>
              <a:rPr lang="ru-RU" sz="1200" b="1" dirty="0"/>
              <a:t> </a:t>
            </a:r>
          </a:p>
        </p:txBody>
      </p:sp>
      <p:graphicFrame>
        <p:nvGraphicFramePr>
          <p:cNvPr id="54" name="Таблица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7066193"/>
              </p:ext>
            </p:extLst>
          </p:nvPr>
        </p:nvGraphicFramePr>
        <p:xfrm>
          <a:off x="2824550" y="4486495"/>
          <a:ext cx="1751856" cy="14173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7518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2764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м по УВР / Старший воспитатель</a:t>
                      </a:r>
                      <a:endParaRPr lang="ru-RU" sz="1100" b="1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96807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роверка и размещение информации в официальной группе ВК</a:t>
                      </a:r>
                      <a:endParaRPr lang="ru-RU" sz="11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EE0FE">
                        <a:alpha val="40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1606"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-12</a:t>
                      </a:r>
                      <a:endParaRPr lang="ru-RU" sz="1000" baseline="0" dirty="0">
                        <a:solidFill>
                          <a:schemeClr val="bg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000" baseline="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000" dirty="0">
                          <a:solidFill>
                            <a:schemeClr val="bg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ин.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96727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63586384"/>
              </p:ext>
            </p:extLst>
          </p:nvPr>
        </p:nvGraphicFramePr>
        <p:xfrm>
          <a:off x="361949" y="1484784"/>
          <a:ext cx="8640761" cy="50447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77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9634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9614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2008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6641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8180"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2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altLang="ru-RU" sz="1200" b="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200" b="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ое ожидание передачи фото и видео материалов</a:t>
                      </a: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Разработка инструкции по размещению информации в официальной группе ДОУ Вконтакте</a:t>
                      </a:r>
                      <a:endParaRPr lang="ru-RU" sz="12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тарший воспитатель </a:t>
                      </a:r>
                      <a:br>
                        <a:rPr lang="ru-RU" sz="1200" b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</a:br>
                      <a:r>
                        <a:rPr lang="ru-RU" sz="1200" b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.Г. Корнеева, педагог-психолог К.С. Кретова</a:t>
                      </a:r>
                      <a:endParaRPr lang="ru-RU" sz="12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1.04.2023 г. – 26.04.2023 г.</a:t>
                      </a:r>
                      <a:endParaRPr lang="ru-RU" sz="12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Повышение информационной компетенции педагогов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Сокращение времени на создание информационных постов в официальной группе ДОУ </a:t>
                      </a:r>
                      <a:r>
                        <a:rPr lang="ru-RU" sz="1200" b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контакте</a:t>
                      </a:r>
                      <a:r>
                        <a:rPr lang="ru-RU" sz="12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endParaRPr lang="ru-RU" sz="12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18180"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Мастер-класс для педагогов по обучению создания информационных постов в </a:t>
                      </a:r>
                      <a:r>
                        <a:rPr lang="ru-RU" sz="1200" b="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официальной </a:t>
                      </a:r>
                      <a:r>
                        <a:rPr lang="ru-RU" sz="1200" b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группе ДОУ </a:t>
                      </a:r>
                      <a:r>
                        <a:rPr lang="ru-RU" sz="1200" b="0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контакте</a:t>
                      </a:r>
                      <a:endParaRPr lang="ru-RU" sz="12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оспитатели М.А. Баранникова, В.А. Белоцерковец</a:t>
                      </a:r>
                      <a:endParaRPr lang="ru-RU" sz="1200" b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7.04.2023 г. </a:t>
                      </a:r>
                      <a:endParaRPr lang="ru-RU" sz="1200" b="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</a:tr>
              <a:tr h="51818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. Отсутствие 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алгоритма согласования с родителями размещаемой информаци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Разработка алгоритма согласования с родителями размещаемой информаци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руководитель СП А.А. Юрпалова, заместитель заведующего по УВР Е.В. Мартынова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8.04.2023 г. –03.05.2023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окращение времени на согласование с родителями размещаемой информации. 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. Необходимость 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уточнения информации у исполнителя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Закрепление ответственных лиц в каждой группе ДОУ по созданию информационных постов в официальной группе ДОУ Вконтакте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руководитель СП А.А. Юрпалова, заместитель заведующего по УВР Е.В. Мартынова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04.05.2023 г. – 05.04.2023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окращение времени на создание информационных постов в официальной группе ДОУ Вконтакте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4. Потеря </a:t>
                      </a: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актуальности информаци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Разработка регламента размещения информации ответственными лицам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тарший воспитатель </a:t>
                      </a:r>
                      <a:b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</a:b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Н.Г. Корнеева, педагог-психолог К.С. Кретова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04.05.2023 г. – 05.04.2023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воевременное оповещение родителей мероприятиях проходящих в ДОУ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64440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50294422"/>
              </p:ext>
            </p:extLst>
          </p:nvPr>
        </p:nvGraphicFramePr>
        <p:xfrm>
          <a:off x="361949" y="1484784"/>
          <a:ext cx="8640761" cy="39931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973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28192"/>
                <a:gridCol w="208823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3610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55850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 Проблема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Мероприятия  по решению проблемы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срок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жидаемый результат</a:t>
                      </a:r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18180">
                <a:tc grid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Апробация процесса оптимизации процесса сетевого взаимодействия с родителями (законными представителями) воспитанников</a:t>
                      </a:r>
                      <a:endParaRPr lang="ru-RU" alt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заместитель заведующего по УВР Е.В. Мартынова, старший воспитатель Н.Г. Корнеева, педагог-психолог К.С. Кретова, 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оспитатели М.А. Баранникова, В.А. Белоцерковец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08.05.2023 г. – 19.05.2023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. Рациональное использование времени и ресурсов. 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. Эффективная организация воспитательного процесса вследствие получения и использования обратной связи от родителей (законных представителей). 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. Высокая активность обращения родителей (законных представителей) к   официальной группе ДОУ Вконтакте 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18180">
                <a:tc grid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. Анализ и оценка достижения целевых показателей проекта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заведующий О.А.Бура,    руководитель СП А.А. Юрпалова, заместитель заведующего по УВР Е.В. Мартынова, старший воспитатель Н.Г. Корнеева, педагог-психолог К.С. Кретова, 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оспитатели М.А. Баранникова, В.А. Белоцерковец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9.05.2023 г. – 02.06.2023 г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1. Сокращение временных затрат на получение информаци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2. Увеличение процента охвата родителей (законных представителей),  использующих  официальную группу ДОУ </a:t>
                      </a:r>
                      <a:r>
                        <a:rPr lang="ru-RU" sz="1100" dirty="0" err="1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Вконтакте</a:t>
                      </a:r>
                      <a:r>
                        <a:rPr lang="ru-RU" sz="11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  для обратной связ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3. Создан алгоритм согласования с родителями (законными представителями) размещаемой информации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3975" marR="53975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259632" y="179609"/>
            <a:ext cx="6768752" cy="36004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города Челябинска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Рисунок 14" descr="gerd_mal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30484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плана реализации проекта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747168" y="1623363"/>
            <a:ext cx="7624018" cy="489364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 font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Разработаны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кции по размещению информации в официальной группе ДОУ Вконтакте</a:t>
            </a:r>
          </a:p>
          <a:p>
            <a:pPr algn="just" font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 Проведен мастер-класс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педагогов по обучению создания информационных постов в официальной группе ДОУ Вконтакте</a:t>
            </a:r>
          </a:p>
          <a:p>
            <a:pPr algn="just" font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 Разработан алгоритм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ования с родителями размещаемой информации</a:t>
            </a:r>
          </a:p>
          <a:p>
            <a:pPr algn="just" font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 Закреплены ответственные лица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каждой группе ДОУ по созданию информационных постов в официальной группе ДОУ Вконтакте</a:t>
            </a:r>
          </a:p>
          <a:p>
            <a:pPr algn="just" font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. Разработан регламент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мещения информации ответственными лицами</a:t>
            </a:r>
          </a:p>
          <a:p>
            <a:pPr algn="ctr"/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1259632" y="179609"/>
            <a:ext cx="6768752" cy="36004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Администрация города Челябинс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pic>
        <p:nvPicPr>
          <p:cNvPr id="17" name="Рисунок 16" descr="gerd_mal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16632"/>
            <a:ext cx="561196" cy="69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28313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25</TotalTime>
  <Words>1273</Words>
  <Application>Microsoft Office PowerPoint</Application>
  <PresentationFormat>Экран (4:3)</PresentationFormat>
  <Paragraphs>282</Paragraphs>
  <Slides>14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Тема Office</vt:lpstr>
      <vt:lpstr>think-cell Slide</vt:lpstr>
      <vt:lpstr>Администрация города Челябинска</vt:lpstr>
      <vt:lpstr>Презентация PowerPoint</vt:lpstr>
      <vt:lpstr>Администрация города Челябинска</vt:lpstr>
      <vt:lpstr>Презентация PowerPoint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Администрация города Челябинска</vt:lpstr>
      <vt:lpstr>Презентация PowerPoint</vt:lpstr>
      <vt:lpstr>Достигнутые результаты (было и стало) </vt:lpstr>
      <vt:lpstr>Презентация PowerPoint</vt:lpstr>
      <vt:lpstr>Стандартизация процесса (алгоритм) «Алгоритм согласования с родителями размещаемой информации»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Пользователь</cp:lastModifiedBy>
  <cp:revision>135</cp:revision>
  <cp:lastPrinted>2019-04-25T09:14:46Z</cp:lastPrinted>
  <dcterms:created xsi:type="dcterms:W3CDTF">2018-08-20T14:01:12Z</dcterms:created>
  <dcterms:modified xsi:type="dcterms:W3CDTF">2023-06-08T07:22:35Z</dcterms:modified>
</cp:coreProperties>
</file>